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40" r:id="rId1"/>
    <p:sldMasterId id="2147483747" r:id="rId2"/>
  </p:sldMasterIdLst>
  <p:notesMasterIdLst>
    <p:notesMasterId r:id="rId8"/>
  </p:notesMasterIdLst>
  <p:sldIdLst>
    <p:sldId id="5029" r:id="rId3"/>
    <p:sldId id="5030" r:id="rId4"/>
    <p:sldId id="5031" r:id="rId5"/>
    <p:sldId id="5014" r:id="rId6"/>
    <p:sldId id="5010" r:id="rId7"/>
  </p:sldIdLst>
  <p:sldSz cx="12192000" cy="6858000"/>
  <p:notesSz cx="6858000" cy="9144000"/>
  <p:embeddedFontLst>
    <p:embeddedFont>
      <p:font typeface="Calibri" panose="020F0502020204030204" pitchFamily="34" charset="0"/>
      <p:regular r:id="rId9"/>
      <p:bold r:id="rId9"/>
      <p:italic r:id="rId9"/>
      <p:boldItalic r:id="rId9"/>
    </p:embeddedFont>
    <p:embeddedFont>
      <p:font typeface="Calibri Light" panose="020F0302020204030204" pitchFamily="34" charset="0"/>
      <p:regular r:id="rId10"/>
      <p:italic r:id="rId11"/>
    </p:embeddedFont>
  </p:embeddedFontLst>
  <p:custDataLst>
    <p:tags r:id="rId1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1CE8A60F-7C29-4AF4-8F24-5686833EB6C1}">
          <p14:sldIdLst>
            <p14:sldId id="5029"/>
            <p14:sldId id="5030"/>
            <p14:sldId id="5031"/>
            <p14:sldId id="5014"/>
            <p14:sldId id="50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hlová Radka Mgr." initials="PRM" lastIdx="2" clrIdx="0">
    <p:extLst>
      <p:ext uri="{19B8F6BF-5375-455C-9EA6-DF929625EA0E}">
        <p15:presenceInfo xmlns:p15="http://schemas.microsoft.com/office/powerpoint/2012/main" userId="S::pohlovar@mzcr.cz::15a606af-c9df-42db-9d4e-541ca0551712" providerId="AD"/>
      </p:ext>
    </p:extLst>
  </p:cmAuthor>
  <p:cmAuthor id="2" name="Žofka Jan Mgr. Ing." initials="ŽJMI" lastIdx="1" clrIdx="1">
    <p:extLst>
      <p:ext uri="{19B8F6BF-5375-455C-9EA6-DF929625EA0E}">
        <p15:presenceInfo xmlns:p15="http://schemas.microsoft.com/office/powerpoint/2012/main" userId="S::zofkaj@mzcr.cz::47242822-da23-458e-81a5-68dba5d2ccc4" providerId="AD"/>
      </p:ext>
    </p:extLst>
  </p:cmAuthor>
  <p:cmAuthor id="3" name="Klechová Anna Mgr." initials="KAM" lastIdx="1" clrIdx="2">
    <p:extLst>
      <p:ext uri="{19B8F6BF-5375-455C-9EA6-DF929625EA0E}">
        <p15:presenceInfo xmlns:p15="http://schemas.microsoft.com/office/powerpoint/2012/main" userId="S::klechovaa@mzcr.cz::18e63089-be75-4ea6-a181-0f98749577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7E9"/>
    <a:srgbClr val="EFCCCF"/>
    <a:srgbClr val="00FF00"/>
    <a:srgbClr val="FF9900"/>
    <a:srgbClr val="0000FF"/>
    <a:srgbClr val="FFC000"/>
    <a:srgbClr val="305983"/>
    <a:srgbClr val="E654FE"/>
    <a:srgbClr val="FFFF66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01" autoAdjust="0"/>
    <p:restoredTop sz="95111" autoAdjust="0"/>
  </p:normalViewPr>
  <p:slideViewPr>
    <p:cSldViewPr snapToGrid="0">
      <p:cViewPr varScale="1">
        <p:scale>
          <a:sx n="76" d="100"/>
          <a:sy n="76" d="100"/>
        </p:scale>
        <p:origin x="811" y="58"/>
      </p:cViewPr>
      <p:guideLst>
        <p:guide orient="horz" pos="867"/>
        <p:guide pos="43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2.fntdata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font" Target="fonts/font1.fntdata"/><Relationship Id="rId4" Type="http://schemas.openxmlformats.org/officeDocument/2006/relationships/slide" Target="slides/slide2.xml"/><Relationship Id="rId9" Type="http://schemas.openxmlformats.org/officeDocument/2006/relationships/font" Target="NUL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644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658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185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046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4693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2271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009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036337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068171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813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187845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33456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4865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522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725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996773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7991936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28498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48724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77489" y="0"/>
            <a:ext cx="12087292" cy="576000"/>
          </a:xfrm>
        </p:spPr>
        <p:txBody>
          <a:bodyPr>
            <a:normAutofit/>
          </a:bodyPr>
          <a:lstStyle/>
          <a:p>
            <a:r>
              <a:rPr lang="cs-CZ" sz="1400" dirty="0"/>
              <a:t>Tabulka 1. </a:t>
            </a:r>
            <a:br>
              <a:rPr lang="cs-CZ" sz="1400" dirty="0"/>
            </a:br>
            <a:r>
              <a:rPr lang="cs-CZ" sz="1400" b="0" dirty="0"/>
              <a:t>Souhrn vybraných epidemiologických parametrů a ukazatelů zdravotního dopadu COVID-19 za celé období epidemie </a:t>
            </a:r>
          </a:p>
        </p:txBody>
      </p:sp>
      <p:graphicFrame>
        <p:nvGraphicFramePr>
          <p:cNvPr id="8" name="Tabulka 1">
            <a:extLst>
              <a:ext uri="{FF2B5EF4-FFF2-40B4-BE49-F238E27FC236}">
                <a16:creationId xmlns:a16="http://schemas.microsoft.com/office/drawing/2014/main" id="{184B6E13-9BFA-4406-B540-3D256C87067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5617"/>
              </p:ext>
            </p:extLst>
          </p:nvPr>
        </p:nvGraphicFramePr>
        <p:xfrm>
          <a:off x="177593" y="576000"/>
          <a:ext cx="11398108" cy="56154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67143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326193">
                  <a:extLst>
                    <a:ext uri="{9D8B030D-6E8A-4147-A177-3AD203B41FA5}">
                      <a16:colId xmlns:a16="http://schemas.microsoft.com/office/drawing/2014/main" val="112557825"/>
                    </a:ext>
                  </a:extLst>
                </a:gridCol>
                <a:gridCol w="1326193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326193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  <a:gridCol w="1326193">
                  <a:extLst>
                    <a:ext uri="{9D8B030D-6E8A-4147-A177-3AD203B41FA5}">
                      <a16:colId xmlns:a16="http://schemas.microsoft.com/office/drawing/2014/main" val="1228351108"/>
                    </a:ext>
                  </a:extLst>
                </a:gridCol>
                <a:gridCol w="1326193">
                  <a:extLst>
                    <a:ext uri="{9D8B030D-6E8A-4147-A177-3AD203B41FA5}">
                      <a16:colId xmlns:a16="http://schemas.microsoft.com/office/drawing/2014/main" val="3198521651"/>
                    </a:ext>
                  </a:extLst>
                </a:gridCol>
              </a:tblGrid>
              <a:tr h="4916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ametr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0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1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022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1 – 02/2023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em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ě prokázaných případů nákazy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37 0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785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057 5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1 6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 611 8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… z toho N (%) záchyty z klinicky a epidemiologicky indikovaných testů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2 616 (8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440 644 (8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491 366 (7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8 547 (9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 583 173 (7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109041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… z toho N (%) symptomatických případů nákazy</a:t>
                      </a:r>
                      <a:endParaRPr lang="cs-CZ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40 098 (4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13 571 (5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056 196 (5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 681 (8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337 546 (5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2540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236606"/>
                  </a:ext>
                </a:extLst>
              </a:tr>
              <a:tr h="2540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ě prokázaných případů nákazy v populaci seniorů 65+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0 4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7 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2 5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 8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1 7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… z toho N (%) záchyty z klinicky a epidemiologicky indikovaných testů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6 853 (8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9 534 (7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6 940 (7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 268 (8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72 595 (7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… z toho N (%) symptomatických případů nákazy</a:t>
                      </a:r>
                      <a:endParaRPr lang="cs-CZ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2 446 (4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5 419 (5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5 502 (6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 871 (8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2 238 (5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143647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7937457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ý počet suspektních reinfekc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 6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52 1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 9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88 9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956257"/>
                  </a:ext>
                </a:extLst>
              </a:tr>
              <a:tr h="2329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ých příjmů na JIP z důvodu těžkého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 3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4 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 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1 6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… z toho N (%) příjmů na léčbu UPV/ECMO</a:t>
                      </a:r>
                      <a:endParaRPr lang="cs-CZ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563 (4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1 311 (4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 018 (3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9 (2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 981 (4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603275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ximální počet hospitalizovaných na JIP v jeden den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ximální počet léčených na UPV/ECMO v jeden den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059924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  <a:tr h="2536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ový počet provedených testů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224 1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2 283 8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 562 0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9 9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5 280 0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572317"/>
                  </a:ext>
                </a:extLst>
              </a:tr>
              <a:tr h="2536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…, z toho N (%) PCR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 375 835 (8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 960 873 (2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 258 322 (7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7 378 (2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 652 408 (3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132443"/>
                  </a:ext>
                </a:extLst>
              </a:tr>
              <a:tr h="2536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…, z toho N (%) indikovaných 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615 588 (6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 992 893 (3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 044 562 (5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0 082 (8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3 823 125 (4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3153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34740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77489" y="0"/>
            <a:ext cx="12087292" cy="576000"/>
          </a:xfrm>
        </p:spPr>
        <p:txBody>
          <a:bodyPr>
            <a:normAutofit/>
          </a:bodyPr>
          <a:lstStyle/>
          <a:p>
            <a:r>
              <a:rPr lang="cs-CZ" sz="1400" dirty="0"/>
              <a:t>Tabulka 2. </a:t>
            </a:r>
            <a:br>
              <a:rPr lang="cs-CZ" sz="1400" dirty="0"/>
            </a:br>
            <a:r>
              <a:rPr lang="cs-CZ" sz="1400" b="0" dirty="0"/>
              <a:t>Souhrn vybraných epidemiologických parametrů a ukazatelů zdravotního dopadu COVID-19 v hlavních sezónních etapách epidemie</a:t>
            </a:r>
          </a:p>
        </p:txBody>
      </p:sp>
      <p:graphicFrame>
        <p:nvGraphicFramePr>
          <p:cNvPr id="8" name="Tabulka 1">
            <a:extLst>
              <a:ext uri="{FF2B5EF4-FFF2-40B4-BE49-F238E27FC236}">
                <a16:creationId xmlns:a16="http://schemas.microsoft.com/office/drawing/2014/main" id="{184B6E13-9BFA-4406-B540-3D256C87067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355259"/>
              </p:ext>
            </p:extLst>
          </p:nvPr>
        </p:nvGraphicFramePr>
        <p:xfrm>
          <a:off x="177594" y="576000"/>
          <a:ext cx="11759850" cy="57936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00466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226564">
                  <a:extLst>
                    <a:ext uri="{9D8B030D-6E8A-4147-A177-3AD203B41FA5}">
                      <a16:colId xmlns:a16="http://schemas.microsoft.com/office/drawing/2014/main" val="112557825"/>
                    </a:ext>
                  </a:extLst>
                </a:gridCol>
                <a:gridCol w="1226564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226564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  <a:gridCol w="1226564">
                  <a:extLst>
                    <a:ext uri="{9D8B030D-6E8A-4147-A177-3AD203B41FA5}">
                      <a16:colId xmlns:a16="http://schemas.microsoft.com/office/drawing/2014/main" val="1228351108"/>
                    </a:ext>
                  </a:extLst>
                </a:gridCol>
                <a:gridCol w="1226564">
                  <a:extLst>
                    <a:ext uri="{9D8B030D-6E8A-4147-A177-3AD203B41FA5}">
                      <a16:colId xmlns:a16="http://schemas.microsoft.com/office/drawing/2014/main" val="3198521651"/>
                    </a:ext>
                  </a:extLst>
                </a:gridCol>
                <a:gridCol w="1226564">
                  <a:extLst>
                    <a:ext uri="{9D8B030D-6E8A-4147-A177-3AD203B41FA5}">
                      <a16:colId xmlns:a16="http://schemas.microsoft.com/office/drawing/2014/main" val="24703705"/>
                    </a:ext>
                  </a:extLst>
                </a:gridCol>
              </a:tblGrid>
              <a:tr h="4916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rametr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3 – 08/2020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9 – 12/2020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1 – 08/2021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9 – 12/2021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1 – 08/2022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9 – 12/2022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ě prokázaných případů nákazy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 7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12 2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62 9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22 6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846 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1 3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… z toho N (%) záchyty z klinicky a epidemiologicky indikovaných testů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 911 (2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5 705 (8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92 837 (8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47 807 (7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292 049 (7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9 317 (9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109041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… z toho N (%) symptomatických případů nákazy</a:t>
                      </a:r>
                      <a:endParaRPr lang="cs-CZ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127 (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8 971 (4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24 104 (5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89 467 (4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65 323 (4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0 873 (9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2540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236606"/>
                  </a:ext>
                </a:extLst>
              </a:tr>
              <a:tr h="2540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ě prokázaných případů nákazy v populaci seniorů 65+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 4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6 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1 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6 6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0 6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 8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… z toho N (%) záchyty z klinicky a epidemiologicky indikovaných testů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90 (2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6 163 (8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3 091 (8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 443 (7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0 703 (6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 237 (9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… z toho N (%) symptomatických případů nákazy</a:t>
                      </a:r>
                      <a:endParaRPr lang="cs-CZ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3 (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2 323 (4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0 459 (6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4 960 (59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1 260 (5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 242 (88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143647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7937457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ový počet suspektních reinfekcí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 0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 5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86 0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6 0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956257"/>
                  </a:ext>
                </a:extLst>
              </a:tr>
              <a:tr h="2329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ých příjmů na JIP z důvodu těžkého COVID-19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 8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 2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 9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 2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4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… z toho N (%) příjmů na léčbu UPV/ECMO</a:t>
                      </a:r>
                      <a:endParaRPr lang="cs-CZ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6 (5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 287 (4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 676 (4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635 (4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680 (3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8 (23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603275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ximální počet hospitalizovaných na JIP v jeden den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8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0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ximální počet léčených na UPV/ECMO v jeden den</a:t>
                      </a: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059924"/>
                  </a:ext>
                </a:extLst>
              </a:tr>
              <a:tr h="278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  <a:tr h="2536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ový počet provedených testů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76 5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 747 5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1 896 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 387 7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 760 6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01 4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572317"/>
                  </a:ext>
                </a:extLst>
              </a:tr>
              <a:tr h="2536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…, z toho N (%) PCR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76 598 (10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899 237 (7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 228 292 (20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 732 581 (5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 918 204 (7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40 118 (42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132443"/>
                  </a:ext>
                </a:extLst>
              </a:tr>
              <a:tr h="2536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…, z toho N (%) indikovaných 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6 463 (37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439 125 (6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 700 843 (34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 292 050 (51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 365 677 (56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78 885 (85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3153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51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77489" y="0"/>
            <a:ext cx="12087292" cy="576000"/>
          </a:xfrm>
        </p:spPr>
        <p:txBody>
          <a:bodyPr>
            <a:normAutofit/>
          </a:bodyPr>
          <a:lstStyle/>
          <a:p>
            <a:r>
              <a:rPr lang="cs-CZ" sz="1400" dirty="0"/>
              <a:t>Tabulka 3. </a:t>
            </a:r>
            <a:r>
              <a:rPr lang="cs-CZ" sz="1400" b="0" dirty="0"/>
              <a:t>Věk pacientů s prokázanou nákazou a s těžkým průběhem COVID-19</a:t>
            </a:r>
          </a:p>
        </p:txBody>
      </p:sp>
      <p:graphicFrame>
        <p:nvGraphicFramePr>
          <p:cNvPr id="8" name="Tabulka 1">
            <a:extLst>
              <a:ext uri="{FF2B5EF4-FFF2-40B4-BE49-F238E27FC236}">
                <a16:creationId xmlns:a16="http://schemas.microsoft.com/office/drawing/2014/main" id="{184B6E13-9BFA-4406-B540-3D256C87067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6553070"/>
              </p:ext>
            </p:extLst>
          </p:nvPr>
        </p:nvGraphicFramePr>
        <p:xfrm>
          <a:off x="197692" y="515100"/>
          <a:ext cx="11448349" cy="57946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4079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4129048">
                  <a:extLst>
                    <a:ext uri="{9D8B030D-6E8A-4147-A177-3AD203B41FA5}">
                      <a16:colId xmlns:a16="http://schemas.microsoft.com/office/drawing/2014/main" val="3527805110"/>
                    </a:ext>
                  </a:extLst>
                </a:gridCol>
                <a:gridCol w="2193476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580663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  <a:gridCol w="1643732">
                  <a:extLst>
                    <a:ext uri="{9D8B030D-6E8A-4147-A177-3AD203B41FA5}">
                      <a16:colId xmlns:a16="http://schemas.microsoft.com/office/drawing/2014/main" val="1228351108"/>
                    </a:ext>
                  </a:extLst>
                </a:gridCol>
                <a:gridCol w="1527351">
                  <a:extLst>
                    <a:ext uri="{9D8B030D-6E8A-4147-A177-3AD203B41FA5}">
                      <a16:colId xmlns:a16="http://schemas.microsoft.com/office/drawing/2014/main" val="2643718077"/>
                    </a:ext>
                  </a:extLst>
                </a:gridCol>
              </a:tblGrid>
              <a:tr h="550025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ěk: průměr; medián                  (5% - 95% kvantil)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díl ve věku 65+ (%)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díl ve věku 75+ </a:t>
                      </a:r>
                      <a:b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</a:b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%)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díl ve věku 85+ (%)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311381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ě prokázaných případů nákazy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3 – 12 / 2020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37 01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,9; 44 (10-8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401528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1 – 08 / 2021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2 90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,4; 43 (7-77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9 – 12 / 2021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22 68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,3; 35 (6-7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1 – 12 / 2022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057 59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,7; 40 (8-7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311381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31138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ospitalizovaní s COVID-19 bez potřeby léčby na JIP 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3 – 12 / 2020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 31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,3; 74 (38-9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233159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1 – 08 / 2021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 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5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,9; 71 (36-9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9 – 12 / 2021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 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8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,4; 71 (29-9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1 – 12 / 2022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 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0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,4; 75 (20-9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31138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31138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ospitalizovaní s těžkým průběhem COVID-19: léčba na JIP 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3 – 12 / 2020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 34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,8; 71 (44-8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725984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1 – 08 / 2021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 27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,4; 69 (42-8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9 – 12 / 2021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931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,0; 67 (33-8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907440"/>
                  </a:ext>
                </a:extLst>
              </a:tr>
              <a:tr h="1530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4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dobí 01 – 12 / 2022 (N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=</a:t>
                      </a:r>
                      <a:r>
                        <a:rPr lang="cs-CZ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755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,8; 71 (28-88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80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70620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77489" y="0"/>
            <a:ext cx="12087292" cy="576000"/>
          </a:xfrm>
        </p:spPr>
        <p:txBody>
          <a:bodyPr>
            <a:normAutofit/>
          </a:bodyPr>
          <a:lstStyle/>
          <a:p>
            <a:r>
              <a:rPr lang="cs-CZ" sz="1400" dirty="0"/>
              <a:t>Tabulka 4. </a:t>
            </a:r>
            <a:br>
              <a:rPr lang="cs-CZ" sz="1400" dirty="0"/>
            </a:br>
            <a:r>
              <a:rPr lang="cs-CZ" sz="1400" b="0" dirty="0"/>
              <a:t>Vybrané epidemiologické parametry a ukazatele zdravotního dopadu epidemie COVID-19 za období 03/2020 – 12/2022 dle krajů </a:t>
            </a:r>
          </a:p>
        </p:txBody>
      </p:sp>
      <p:graphicFrame>
        <p:nvGraphicFramePr>
          <p:cNvPr id="8" name="Tabulka 1">
            <a:extLst>
              <a:ext uri="{FF2B5EF4-FFF2-40B4-BE49-F238E27FC236}">
                <a16:creationId xmlns:a16="http://schemas.microsoft.com/office/drawing/2014/main" id="{184B6E13-9BFA-4406-B540-3D256C87067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232613"/>
              </p:ext>
            </p:extLst>
          </p:nvPr>
        </p:nvGraphicFramePr>
        <p:xfrm>
          <a:off x="167924" y="673240"/>
          <a:ext cx="11478496" cy="61443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72752">
                  <a:extLst>
                    <a:ext uri="{9D8B030D-6E8A-4147-A177-3AD203B41FA5}">
                      <a16:colId xmlns:a16="http://schemas.microsoft.com/office/drawing/2014/main" val="1104746273"/>
                    </a:ext>
                  </a:extLst>
                </a:gridCol>
                <a:gridCol w="1125038">
                  <a:extLst>
                    <a:ext uri="{9D8B030D-6E8A-4147-A177-3AD203B41FA5}">
                      <a16:colId xmlns:a16="http://schemas.microsoft.com/office/drawing/2014/main" val="2879916102"/>
                    </a:ext>
                  </a:extLst>
                </a:gridCol>
                <a:gridCol w="1356528">
                  <a:extLst>
                    <a:ext uri="{9D8B030D-6E8A-4147-A177-3AD203B41FA5}">
                      <a16:colId xmlns:a16="http://schemas.microsoft.com/office/drawing/2014/main" val="91611974"/>
                    </a:ext>
                  </a:extLst>
                </a:gridCol>
                <a:gridCol w="1245995">
                  <a:extLst>
                    <a:ext uri="{9D8B030D-6E8A-4147-A177-3AD203B41FA5}">
                      <a16:colId xmlns:a16="http://schemas.microsoft.com/office/drawing/2014/main" val="4082233483"/>
                    </a:ext>
                  </a:extLst>
                </a:gridCol>
                <a:gridCol w="1276141">
                  <a:extLst>
                    <a:ext uri="{9D8B030D-6E8A-4147-A177-3AD203B41FA5}">
                      <a16:colId xmlns:a16="http://schemas.microsoft.com/office/drawing/2014/main" val="3180115045"/>
                    </a:ext>
                  </a:extLst>
                </a:gridCol>
                <a:gridCol w="1165609">
                  <a:extLst>
                    <a:ext uri="{9D8B030D-6E8A-4147-A177-3AD203B41FA5}">
                      <a16:colId xmlns:a16="http://schemas.microsoft.com/office/drawing/2014/main" val="2227094756"/>
                    </a:ext>
                  </a:extLst>
                </a:gridCol>
                <a:gridCol w="1266471">
                  <a:extLst>
                    <a:ext uri="{9D8B030D-6E8A-4147-A177-3AD203B41FA5}">
                      <a16:colId xmlns:a16="http://schemas.microsoft.com/office/drawing/2014/main" val="3563498659"/>
                    </a:ext>
                  </a:extLst>
                </a:gridCol>
                <a:gridCol w="1034981">
                  <a:extLst>
                    <a:ext uri="{9D8B030D-6E8A-4147-A177-3AD203B41FA5}">
                      <a16:colId xmlns:a16="http://schemas.microsoft.com/office/drawing/2014/main" val="1228351108"/>
                    </a:ext>
                  </a:extLst>
                </a:gridCol>
                <a:gridCol w="1034981">
                  <a:extLst>
                    <a:ext uri="{9D8B030D-6E8A-4147-A177-3AD203B41FA5}">
                      <a16:colId xmlns:a16="http://schemas.microsoft.com/office/drawing/2014/main" val="2655332913"/>
                    </a:ext>
                  </a:extLst>
                </a:gridCol>
              </a:tblGrid>
              <a:tr h="150725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ázev kraje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ě prokázaných případů nákazy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ě prokázaných případů nákazy v populaci 65+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ých příjmů do nemocnic z důvodu COVID-19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ový počet nových příjmů na JIP z důvodu těžkého COVID-19</a:t>
                      </a:r>
                      <a:endParaRPr lang="cs-CZ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0853959"/>
                  </a:ext>
                </a:extLst>
              </a:tr>
              <a:tr h="150725"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čet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na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0tis. </a:t>
                      </a:r>
                      <a:r>
                        <a:rPr lang="cs-CZ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byv</a:t>
                      </a:r>
                      <a:endParaRPr lang="cs-CZ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čet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na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0tis. </a:t>
                      </a:r>
                      <a:r>
                        <a:rPr lang="cs-CZ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byv</a:t>
                      </a:r>
                      <a:endParaRPr lang="cs-CZ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čet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na 100tis. </a:t>
                      </a:r>
                      <a:r>
                        <a:rPr lang="cs-CZ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byv</a:t>
                      </a:r>
                      <a:endParaRPr lang="cs-CZ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čet</a:t>
                      </a: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na 100tis. </a:t>
                      </a:r>
                      <a:r>
                        <a:rPr lang="cs-CZ" sz="1400" b="1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byv</a:t>
                      </a:r>
                      <a:endParaRPr lang="cs-CZ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76202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7 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48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8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35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8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6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</a:t>
                      </a:r>
                      <a:endParaRPr lang="cs-CZ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2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8267304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6 5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81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 9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65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7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5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70943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 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77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8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47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4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2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6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99811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 4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22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 9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10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3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4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14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71709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9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 73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0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 69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9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0686177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 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82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4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25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8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01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60626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 0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50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0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59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9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2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31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1151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9 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22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62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0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6406672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 7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90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 9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75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8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0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103521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 9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48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0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49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2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1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984813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9 3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77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0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90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 1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9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92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930455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 5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43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2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79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2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0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4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071685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 8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 26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5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23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6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44618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 1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34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 8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89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7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66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907440"/>
                  </a:ext>
                </a:extLst>
              </a:tr>
              <a:tr h="311381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cs-CZ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4244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Č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 580 1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2 79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00 8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 84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7 6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12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1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6</a:t>
                      </a:r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880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21231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43941" y="377123"/>
            <a:ext cx="11614422" cy="957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bulka 5. </a:t>
            </a: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ciálně zranitelná populace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</a:t>
            </a:r>
            <a:r>
              <a:rPr kumimoji="0" lang="cs-CZ" sz="2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ěku</a:t>
            </a:r>
            <a:r>
              <a:rPr kumimoji="0" lang="cs-CZ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65 a více let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BB3F71A-302B-4B5E-B9BC-CD8273B54CE2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965566"/>
              </p:ext>
            </p:extLst>
          </p:nvPr>
        </p:nvGraphicFramePr>
        <p:xfrm>
          <a:off x="482767" y="755606"/>
          <a:ext cx="3798951" cy="2838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98951">
                  <a:extLst>
                    <a:ext uri="{9D8B030D-6E8A-4147-A177-3AD203B41FA5}">
                      <a16:colId xmlns:a16="http://schemas.microsoft.com/office/drawing/2014/main" val="358811976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v k 27. 2. 2023</a:t>
                      </a:r>
                      <a:endParaRPr lang="es-E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056128"/>
                  </a:ext>
                </a:extLst>
              </a:tr>
            </a:tbl>
          </a:graphicData>
        </a:graphic>
      </p:graphicFrame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B6239776-69D3-4479-8E12-A311E8DCD025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6311954"/>
              </p:ext>
            </p:extLst>
          </p:nvPr>
        </p:nvGraphicFramePr>
        <p:xfrm>
          <a:off x="472719" y="1154178"/>
          <a:ext cx="11336770" cy="5253015"/>
        </p:xfrm>
        <a:graphic>
          <a:graphicData uri="http://schemas.openxmlformats.org/drawingml/2006/table">
            <a:tbl>
              <a:tblPr/>
              <a:tblGrid>
                <a:gridCol w="1813281">
                  <a:extLst>
                    <a:ext uri="{9D8B030D-6E8A-4147-A177-3AD203B41FA5}">
                      <a16:colId xmlns:a16="http://schemas.microsoft.com/office/drawing/2014/main" val="4039846943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515080739"/>
                    </a:ext>
                  </a:extLst>
                </a:gridCol>
                <a:gridCol w="1049867">
                  <a:extLst>
                    <a:ext uri="{9D8B030D-6E8A-4147-A177-3AD203B41FA5}">
                      <a16:colId xmlns:a16="http://schemas.microsoft.com/office/drawing/2014/main" val="359600339"/>
                    </a:ext>
                  </a:extLst>
                </a:gridCol>
                <a:gridCol w="1083733">
                  <a:extLst>
                    <a:ext uri="{9D8B030D-6E8A-4147-A177-3AD203B41FA5}">
                      <a16:colId xmlns:a16="http://schemas.microsoft.com/office/drawing/2014/main" val="2431012346"/>
                    </a:ext>
                  </a:extLst>
                </a:gridCol>
                <a:gridCol w="1099304">
                  <a:extLst>
                    <a:ext uri="{9D8B030D-6E8A-4147-A177-3AD203B41FA5}">
                      <a16:colId xmlns:a16="http://schemas.microsoft.com/office/drawing/2014/main" val="1103509888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193925721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1555312560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1920307258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638417645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1321829261"/>
                    </a:ext>
                  </a:extLst>
                </a:gridCol>
              </a:tblGrid>
              <a:tr h="1063471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1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opula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čkovaní alespoň jednou dávko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končené očková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jí první posilující dávk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jí druhou posilující dávku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ělali onemocnění v roce 2022 nebo 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ělali onemocnění v roce 2022 i 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stat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oby více než 8 měsíců od poslední dávky očkování a/nebo od prodělání nemoci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673919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10 Hlavní město Pra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 474 (91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 516 (90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339 (79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 592 (34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563 (14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185 (7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 102 (54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8559858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20 Střed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 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 852 (93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 708 (92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344 (80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 193 (29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305 (10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926 (6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 077 (61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3698313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1 Jihoče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 644 (92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664 (91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303 (79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 476 (27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13 (9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33 (7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083 (63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2352291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32 Plzeň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737 (90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 842 (89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794 (76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001 (23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07 (9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921 (9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450 (66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5252583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1 Karlovar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7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209 (87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26 (86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037 (74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669 (25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07 (6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46 (11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 487 (61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4073453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42 Úst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187 (89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 851 (88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523 (76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553 (26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767 (9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12 (9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 874 (61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0445421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1 Liber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984 (89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292 (88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 324 (75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394 (24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00 (8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30 (9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212 (64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034458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2 Královéhrade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 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073 (90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 188 (90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 630 (77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822 (24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91 (10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903 (8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056 (64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3558173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53 Pardubi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610 (90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765 (89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 337 (76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582 (24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64 (9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52 (8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682 (64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3771964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3 Kraj Vysoč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 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421 (93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 659 (92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428 (79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286 (24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334 (8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5 (6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623 (66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5815422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64 Jihomorav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 414 (89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387 (88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 069 (74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 203 (24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128 (1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058 (9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 114 (63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9998371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1 Olomouc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322 (87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225 (86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 140 (72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 274 (20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34 (8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154 (11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867 (67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358045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72 Zlín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5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986 (88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921 (87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509 (72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246 (19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661 (9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58 (10,8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369 (68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8985847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080 Moravskoslezský kraj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 1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 339 (86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 366 (85,3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 577 (70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646 (19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038 (9,1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563 (12,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 936 (67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2292547"/>
                  </a:ext>
                </a:extLst>
              </a:tr>
              <a:tr h="27641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58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46 876 (90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29 431 (89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9 492 (76,4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9 438 (25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202 (1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(0,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262 (8,9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4 012 (63,7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86021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8920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heme/theme1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772</TotalTime>
  <Words>2377</Words>
  <Application>Microsoft Office PowerPoint</Application>
  <PresentationFormat>Širokoúhlá obrazovka</PresentationFormat>
  <Paragraphs>656</Paragraphs>
  <Slides>5</Slides>
  <Notes>5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5</vt:i4>
      </vt:variant>
    </vt:vector>
  </HeadingPairs>
  <TitlesOfParts>
    <vt:vector size="11" baseType="lpstr">
      <vt:lpstr>Calibri Light</vt:lpstr>
      <vt:lpstr>Arial</vt:lpstr>
      <vt:lpstr>Times New Roman</vt:lpstr>
      <vt:lpstr>Calibri</vt:lpstr>
      <vt:lpstr>7_Motiv Office</vt:lpstr>
      <vt:lpstr>1_Motiv Office</vt:lpstr>
      <vt:lpstr>Tabulka 1.  Souhrn vybraných epidemiologických parametrů a ukazatelů zdravotního dopadu COVID-19 za celé období epidemie </vt:lpstr>
      <vt:lpstr>Tabulka 2.  Souhrn vybraných epidemiologických parametrů a ukazatelů zdravotního dopadu COVID-19 v hlavních sezónních etapách epidemie</vt:lpstr>
      <vt:lpstr>Tabulka 3. Věk pacientů s prokázanou nákazou a s těžkým průběhem COVID-19</vt:lpstr>
      <vt:lpstr>Tabulka 4.  Vybrané epidemiologické parametry a ukazatele zdravotního dopadu epidemie COVID-19 za období 03/2020 – 12/2022 dle krajů 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iepidemický systém ČR PES</dc:title>
  <dc:creator>Martin Komenda</dc:creator>
  <cp:lastModifiedBy>Dušek Ladislav prof. RNDr. Ph.D.</cp:lastModifiedBy>
  <cp:revision>3471</cp:revision>
  <dcterms:created xsi:type="dcterms:W3CDTF">2020-11-11T17:36:28Z</dcterms:created>
  <dcterms:modified xsi:type="dcterms:W3CDTF">2023-03-02T14:53:24Z</dcterms:modified>
</cp:coreProperties>
</file>